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Masters/slideMaster1.xml" ContentType="application/vnd.openxmlformats-officedocument.presentationml.slideMaster+xml"/>
  <Override PartName="/ppt/slideLayouts/slideLayout8.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ppt/tags/tag10.xml" ContentType="application/vnd.openxmlformats-officedocument.presentationml.tags+xml"/>
  <Override PartName="/ppt/tags/tag6.xml" ContentType="application/vnd.openxmlformats-officedocument.presentationml.tags+xml"/>
  <Override PartName="/ppt/tags/tag9.xml" ContentType="application/vnd.openxmlformats-officedocument.presentationml.tags+xml"/>
  <Override PartName="/ppt/tags/tag5.xml" ContentType="application/vnd.openxmlformats-officedocument.presentationml.tags+xml"/>
  <Override PartName="/ppt/tags/tag8.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handoutMasterIdLst>
    <p:handoutMasterId r:id="rId11"/>
  </p:handoutMasterIdLst>
  <p:sldIdLst>
    <p:sldId id="256" r:id="rId2"/>
    <p:sldId id="257" r:id="rId3"/>
    <p:sldId id="260" r:id="rId4"/>
    <p:sldId id="259" r:id="rId5"/>
    <p:sldId id="271" r:id="rId6"/>
    <p:sldId id="265" r:id="rId7"/>
    <p:sldId id="269" r:id="rId8"/>
    <p:sldId id="270"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CA8"/>
    <a:srgbClr val="C12E1E"/>
    <a:srgbClr val="0069AA"/>
    <a:srgbClr val="000000"/>
    <a:srgbClr val="F490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1" autoAdjust="0"/>
  </p:normalViewPr>
  <p:slideViewPr>
    <p:cSldViewPr snapToGrid="0">
      <p:cViewPr varScale="1">
        <p:scale>
          <a:sx n="81" d="100"/>
          <a:sy n="81" d="100"/>
        </p:scale>
        <p:origin x="1454" y="6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1" d="100"/>
          <a:sy n="81" d="100"/>
        </p:scale>
        <p:origin x="298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2DD74BE-E80E-49E8-A599-77B0DDDAE16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5289A7-48ED-4D6E-A8BA-5F1D6376D05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44EBEFB-38F6-4092-AF52-DD42ABE9C814}" type="datetimeFigureOut">
              <a:rPr lang="en-US" smtClean="0"/>
              <a:t>10/4/2022</a:t>
            </a:fld>
            <a:endParaRPr lang="en-US"/>
          </a:p>
        </p:txBody>
      </p:sp>
      <p:sp>
        <p:nvSpPr>
          <p:cNvPr id="4" name="Footer Placeholder 3">
            <a:extLst>
              <a:ext uri="{FF2B5EF4-FFF2-40B4-BE49-F238E27FC236}">
                <a16:creationId xmlns:a16="http://schemas.microsoft.com/office/drawing/2014/main" id="{059FE3D1-A3BA-4D0A-BDD9-32FACD18F8E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2958952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E59EF1-D75E-4EFC-98FB-AFB25D2F4298}" type="datetimeFigureOut">
              <a:rPr lang="en-US" smtClean="0"/>
              <a:t>10/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29300-AAD6-4665-90E6-4940AE3925B9}" type="slidenum">
              <a:rPr lang="en-US" smtClean="0"/>
              <a:t>‹#›</a:t>
            </a:fld>
            <a:endParaRPr lang="en-US"/>
          </a:p>
        </p:txBody>
      </p:sp>
    </p:spTree>
    <p:extLst>
      <p:ext uri="{BB962C8B-B14F-4D97-AF65-F5344CB8AC3E}">
        <p14:creationId xmlns:p14="http://schemas.microsoft.com/office/powerpoint/2010/main" val="3399509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14BD59-591B-AE0C-B4CF-566746952070}"/>
              </a:ext>
            </a:extLst>
          </p:cNvPr>
          <p:cNvPicPr>
            <a:picLocks noChangeAspect="1"/>
          </p:cNvPicPr>
          <p:nvPr userDrawn="1"/>
        </p:nvPicPr>
        <p:blipFill>
          <a:blip r:embed="rId4"/>
          <a:stretch>
            <a:fillRect/>
          </a:stretch>
        </p:blipFill>
        <p:spPr>
          <a:xfrm>
            <a:off x="-10421" y="0"/>
            <a:ext cx="8760980" cy="5839227"/>
          </a:xfrm>
          <a:prstGeom prst="rect">
            <a:avLst/>
          </a:prstGeom>
        </p:spPr>
      </p:pic>
      <p:graphicFrame>
        <p:nvGraphicFramePr>
          <p:cNvPr id="18" name="Object 17" hidden="1">
            <a:extLst>
              <a:ext uri="{FF2B5EF4-FFF2-40B4-BE49-F238E27FC236}">
                <a16:creationId xmlns:a16="http://schemas.microsoft.com/office/drawing/2014/main" id="{6A4824FA-6A55-42E0-B45D-FDAB66F64305}"/>
              </a:ext>
            </a:extLst>
          </p:cNvPr>
          <p:cNvGraphicFramePr>
            <a:graphicFrameLocks noChangeAspect="1"/>
          </p:cNvGraphicFramePr>
          <p:nvPr userDrawn="1">
            <p:custDataLst>
              <p:tags r:id="rId1"/>
            </p:custDataLst>
            <p:extLst>
              <p:ext uri="{D42A27DB-BD31-4B8C-83A1-F6EECF244321}">
                <p14:modId xmlns:p14="http://schemas.microsoft.com/office/powerpoint/2010/main" val="55730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5DE7A49B-67B9-4A94-A7A2-D6890020F5E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41" name="Freeform: Shape 40">
            <a:extLst>
              <a:ext uri="{FF2B5EF4-FFF2-40B4-BE49-F238E27FC236}">
                <a16:creationId xmlns:a16="http://schemas.microsoft.com/office/drawing/2014/main" id="{860D84E2-7E26-40D3-979B-35B8C6D7D5D4}"/>
              </a:ext>
            </a:extLst>
          </p:cNvPr>
          <p:cNvSpPr/>
          <p:nvPr userDrawn="1"/>
        </p:nvSpPr>
        <p:spPr>
          <a:xfrm>
            <a:off x="0" y="-9525"/>
            <a:ext cx="12192000" cy="6867525"/>
          </a:xfrm>
          <a:custGeom>
            <a:avLst/>
            <a:gdLst>
              <a:gd name="connsiteX0" fmla="*/ 3 w 12192000"/>
              <a:gd name="connsiteY0" fmla="*/ 1011731 h 6860051"/>
              <a:gd name="connsiteX1" fmla="*/ 2 w 12192000"/>
              <a:gd name="connsiteY1" fmla="*/ 2882689 h 6860051"/>
              <a:gd name="connsiteX2" fmla="*/ 1283687 w 12192000"/>
              <a:gd name="connsiteY2" fmla="*/ 4858069 h 6860051"/>
              <a:gd name="connsiteX3" fmla="*/ 1988859 w 12192000"/>
              <a:gd name="connsiteY3" fmla="*/ 5007733 h 6860051"/>
              <a:gd name="connsiteX4" fmla="*/ 1988859 w 12192000"/>
              <a:gd name="connsiteY4" fmla="*/ 5007734 h 6860051"/>
              <a:gd name="connsiteX5" fmla="*/ 2138523 w 12192000"/>
              <a:gd name="connsiteY5" fmla="*/ 4302562 h 6860051"/>
              <a:gd name="connsiteX6" fmla="*/ 680609 w 12192000"/>
              <a:gd name="connsiteY6" fmla="*/ 2052 h 6860051"/>
              <a:gd name="connsiteX7" fmla="*/ 809639 w 12192000"/>
              <a:gd name="connsiteY7" fmla="*/ 2052 h 6860051"/>
              <a:gd name="connsiteX8" fmla="*/ 4283734 w 12192000"/>
              <a:gd name="connsiteY8" fmla="*/ 5348116 h 6860051"/>
              <a:gd name="connsiteX9" fmla="*/ 4988906 w 12192000"/>
              <a:gd name="connsiteY9" fmla="*/ 5497780 h 6860051"/>
              <a:gd name="connsiteX10" fmla="*/ 4988906 w 12192000"/>
              <a:gd name="connsiteY10" fmla="*/ 5497781 h 6860051"/>
              <a:gd name="connsiteX11" fmla="*/ 5138570 w 12192000"/>
              <a:gd name="connsiteY11" fmla="*/ 4792609 h 6860051"/>
              <a:gd name="connsiteX12" fmla="*/ 2025465 w 12192000"/>
              <a:gd name="connsiteY12" fmla="*/ 2052 h 6860051"/>
              <a:gd name="connsiteX13" fmla="*/ 2156127 w 12192000"/>
              <a:gd name="connsiteY13" fmla="*/ 2052 h 6860051"/>
              <a:gd name="connsiteX14" fmla="*/ 4655727 w 12192000"/>
              <a:gd name="connsiteY14" fmla="*/ 3848528 h 6860051"/>
              <a:gd name="connsiteX15" fmla="*/ 5360898 w 12192000"/>
              <a:gd name="connsiteY15" fmla="*/ 3998192 h 6860051"/>
              <a:gd name="connsiteX16" fmla="*/ 5360899 w 12192000"/>
              <a:gd name="connsiteY16" fmla="*/ 3998192 h 6860051"/>
              <a:gd name="connsiteX17" fmla="*/ 5510563 w 12192000"/>
              <a:gd name="connsiteY17" fmla="*/ 3293021 h 6860051"/>
              <a:gd name="connsiteX18" fmla="*/ 3371953 w 12192000"/>
              <a:gd name="connsiteY18" fmla="*/ 2052 h 6860051"/>
              <a:gd name="connsiteX19" fmla="*/ 3497735 w 12192000"/>
              <a:gd name="connsiteY19" fmla="*/ 2052 h 6860051"/>
              <a:gd name="connsiteX20" fmla="*/ 5113143 w 12192000"/>
              <a:gd name="connsiteY20" fmla="*/ 2487902 h 6860051"/>
              <a:gd name="connsiteX21" fmla="*/ 5818314 w 12192000"/>
              <a:gd name="connsiteY21" fmla="*/ 2637566 h 6860051"/>
              <a:gd name="connsiteX22" fmla="*/ 5818315 w 12192000"/>
              <a:gd name="connsiteY22" fmla="*/ 2637567 h 6860051"/>
              <a:gd name="connsiteX23" fmla="*/ 5967979 w 12192000"/>
              <a:gd name="connsiteY23" fmla="*/ 1932395 h 6860051"/>
              <a:gd name="connsiteX24" fmla="*/ 4713560 w 12192000"/>
              <a:gd name="connsiteY24" fmla="*/ 2052 h 6860051"/>
              <a:gd name="connsiteX25" fmla="*/ 12192000 w 12192000"/>
              <a:gd name="connsiteY25" fmla="*/ 2052 h 6860051"/>
              <a:gd name="connsiteX26" fmla="*/ 12192000 w 12192000"/>
              <a:gd name="connsiteY26" fmla="*/ 6860051 h 6860051"/>
              <a:gd name="connsiteX27" fmla="*/ 1 w 12192000"/>
              <a:gd name="connsiteY27" fmla="*/ 6860051 h 6860051"/>
              <a:gd name="connsiteX28" fmla="*/ 1 w 12192000"/>
              <a:gd name="connsiteY28" fmla="*/ 495399 h 6860051"/>
              <a:gd name="connsiteX29" fmla="*/ 1 w 12192000"/>
              <a:gd name="connsiteY29" fmla="*/ 825665 h 6860051"/>
              <a:gd name="connsiteX30" fmla="*/ 2790701 w 12192000"/>
              <a:gd name="connsiteY30" fmla="*/ 5120095 h 6860051"/>
              <a:gd name="connsiteX31" fmla="*/ 3495872 w 12192000"/>
              <a:gd name="connsiteY31" fmla="*/ 5269759 h 6860051"/>
              <a:gd name="connsiteX32" fmla="*/ 3495873 w 12192000"/>
              <a:gd name="connsiteY32" fmla="*/ 5269759 h 6860051"/>
              <a:gd name="connsiteX33" fmla="*/ 3645537 w 12192000"/>
              <a:gd name="connsiteY33" fmla="*/ 4564588 h 6860051"/>
              <a:gd name="connsiteX34" fmla="*/ 2154795 w 12192000"/>
              <a:gd name="connsiteY34" fmla="*/ 1 h 6860051"/>
              <a:gd name="connsiteX35" fmla="*/ 3370621 w 12192000"/>
              <a:gd name="connsiteY35" fmla="*/ 2 h 6860051"/>
              <a:gd name="connsiteX36" fmla="*/ 3371953 w 12192000"/>
              <a:gd name="connsiteY36" fmla="*/ 2052 h 6860051"/>
              <a:gd name="connsiteX37" fmla="*/ 2156127 w 12192000"/>
              <a:gd name="connsiteY37" fmla="*/ 2052 h 6860051"/>
              <a:gd name="connsiteX38" fmla="*/ 808306 w 12192000"/>
              <a:gd name="connsiteY38" fmla="*/ 1 h 6860051"/>
              <a:gd name="connsiteX39" fmla="*/ 2024132 w 12192000"/>
              <a:gd name="connsiteY39" fmla="*/ 1 h 6860051"/>
              <a:gd name="connsiteX40" fmla="*/ 2025465 w 12192000"/>
              <a:gd name="connsiteY40" fmla="*/ 2052 h 6860051"/>
              <a:gd name="connsiteX41" fmla="*/ 809639 w 12192000"/>
              <a:gd name="connsiteY41" fmla="*/ 2052 h 6860051"/>
              <a:gd name="connsiteX42" fmla="*/ 3496402 w 12192000"/>
              <a:gd name="connsiteY42" fmla="*/ 1 h 6860051"/>
              <a:gd name="connsiteX43" fmla="*/ 4712228 w 12192000"/>
              <a:gd name="connsiteY43" fmla="*/ 1 h 6860051"/>
              <a:gd name="connsiteX44" fmla="*/ 4713560 w 12192000"/>
              <a:gd name="connsiteY44" fmla="*/ 2052 h 6860051"/>
              <a:gd name="connsiteX45" fmla="*/ 3497735 w 12192000"/>
              <a:gd name="connsiteY45" fmla="*/ 2052 h 6860051"/>
              <a:gd name="connsiteX46" fmla="*/ 0 w 12192000"/>
              <a:gd name="connsiteY46" fmla="*/ 0 h 6860051"/>
              <a:gd name="connsiteX47" fmla="*/ 679276 w 12192000"/>
              <a:gd name="connsiteY47" fmla="*/ 0 h 6860051"/>
              <a:gd name="connsiteX48" fmla="*/ 680609 w 12192000"/>
              <a:gd name="connsiteY48" fmla="*/ 2052 h 6860051"/>
              <a:gd name="connsiteX49" fmla="*/ 1 w 12192000"/>
              <a:gd name="connsiteY49" fmla="*/ 2052 h 6860051"/>
              <a:gd name="connsiteX50" fmla="*/ 1 w 12192000"/>
              <a:gd name="connsiteY50" fmla="*/ 495399 h 686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2192000" h="6860051">
                <a:moveTo>
                  <a:pt x="3" y="1011731"/>
                </a:moveTo>
                <a:lnTo>
                  <a:pt x="2" y="2882689"/>
                </a:lnTo>
                <a:lnTo>
                  <a:pt x="1283687" y="4858069"/>
                </a:lnTo>
                <a:cubicBezTo>
                  <a:pt x="1437087" y="5094126"/>
                  <a:pt x="1752802" y="5161132"/>
                  <a:pt x="1988859" y="5007733"/>
                </a:cubicBezTo>
                <a:lnTo>
                  <a:pt x="1988859" y="5007734"/>
                </a:lnTo>
                <a:cubicBezTo>
                  <a:pt x="2224916" y="4854334"/>
                  <a:pt x="2291923" y="4538619"/>
                  <a:pt x="2138523" y="4302562"/>
                </a:cubicBezTo>
                <a:close/>
                <a:moveTo>
                  <a:pt x="680609" y="2052"/>
                </a:moveTo>
                <a:lnTo>
                  <a:pt x="809639" y="2052"/>
                </a:lnTo>
                <a:lnTo>
                  <a:pt x="4283734" y="5348116"/>
                </a:lnTo>
                <a:cubicBezTo>
                  <a:pt x="4437134" y="5584173"/>
                  <a:pt x="4752849" y="5651179"/>
                  <a:pt x="4988906" y="5497780"/>
                </a:cubicBezTo>
                <a:lnTo>
                  <a:pt x="4988906" y="5497781"/>
                </a:lnTo>
                <a:cubicBezTo>
                  <a:pt x="5224962" y="5344381"/>
                  <a:pt x="5291969" y="5028666"/>
                  <a:pt x="5138570" y="4792609"/>
                </a:cubicBezTo>
                <a:lnTo>
                  <a:pt x="2025465" y="2052"/>
                </a:lnTo>
                <a:lnTo>
                  <a:pt x="2156127" y="2052"/>
                </a:lnTo>
                <a:lnTo>
                  <a:pt x="4655727" y="3848528"/>
                </a:lnTo>
                <a:cubicBezTo>
                  <a:pt x="4809127" y="4084584"/>
                  <a:pt x="5124842" y="4151591"/>
                  <a:pt x="5360898" y="3998192"/>
                </a:cubicBezTo>
                <a:lnTo>
                  <a:pt x="5360899" y="3998192"/>
                </a:lnTo>
                <a:cubicBezTo>
                  <a:pt x="5596955" y="3844793"/>
                  <a:pt x="5663962" y="3529078"/>
                  <a:pt x="5510563" y="3293021"/>
                </a:cubicBezTo>
                <a:lnTo>
                  <a:pt x="3371953" y="2052"/>
                </a:lnTo>
                <a:lnTo>
                  <a:pt x="3497735" y="2052"/>
                </a:lnTo>
                <a:lnTo>
                  <a:pt x="5113143" y="2487902"/>
                </a:lnTo>
                <a:cubicBezTo>
                  <a:pt x="5266543" y="2723959"/>
                  <a:pt x="5582258" y="2790965"/>
                  <a:pt x="5818314" y="2637566"/>
                </a:cubicBezTo>
                <a:lnTo>
                  <a:pt x="5818315" y="2637567"/>
                </a:lnTo>
                <a:cubicBezTo>
                  <a:pt x="6054371" y="2484167"/>
                  <a:pt x="6121378" y="2168452"/>
                  <a:pt x="5967979" y="1932395"/>
                </a:cubicBezTo>
                <a:lnTo>
                  <a:pt x="4713560" y="2052"/>
                </a:lnTo>
                <a:lnTo>
                  <a:pt x="12192000" y="2052"/>
                </a:lnTo>
                <a:lnTo>
                  <a:pt x="12192000" y="6860051"/>
                </a:lnTo>
                <a:lnTo>
                  <a:pt x="1" y="6860051"/>
                </a:lnTo>
                <a:lnTo>
                  <a:pt x="1" y="495399"/>
                </a:lnTo>
                <a:lnTo>
                  <a:pt x="1" y="825665"/>
                </a:lnTo>
                <a:lnTo>
                  <a:pt x="2790701" y="5120095"/>
                </a:lnTo>
                <a:cubicBezTo>
                  <a:pt x="2944100" y="5356151"/>
                  <a:pt x="3259816" y="5423158"/>
                  <a:pt x="3495872" y="5269759"/>
                </a:cubicBezTo>
                <a:lnTo>
                  <a:pt x="3495873" y="5269759"/>
                </a:lnTo>
                <a:cubicBezTo>
                  <a:pt x="3731929" y="5116360"/>
                  <a:pt x="3798936" y="4800645"/>
                  <a:pt x="3645537" y="4564588"/>
                </a:cubicBezTo>
                <a:close/>
                <a:moveTo>
                  <a:pt x="2154795" y="1"/>
                </a:moveTo>
                <a:lnTo>
                  <a:pt x="3370621" y="2"/>
                </a:lnTo>
                <a:lnTo>
                  <a:pt x="3371953" y="2052"/>
                </a:lnTo>
                <a:lnTo>
                  <a:pt x="2156127" y="2052"/>
                </a:lnTo>
                <a:close/>
                <a:moveTo>
                  <a:pt x="808306" y="1"/>
                </a:moveTo>
                <a:lnTo>
                  <a:pt x="2024132" y="1"/>
                </a:lnTo>
                <a:lnTo>
                  <a:pt x="2025465" y="2052"/>
                </a:lnTo>
                <a:lnTo>
                  <a:pt x="809639" y="2052"/>
                </a:lnTo>
                <a:close/>
                <a:moveTo>
                  <a:pt x="3496402" y="1"/>
                </a:moveTo>
                <a:lnTo>
                  <a:pt x="4712228" y="1"/>
                </a:lnTo>
                <a:lnTo>
                  <a:pt x="4713560" y="2052"/>
                </a:lnTo>
                <a:lnTo>
                  <a:pt x="3497735" y="2052"/>
                </a:lnTo>
                <a:close/>
                <a:moveTo>
                  <a:pt x="0" y="0"/>
                </a:moveTo>
                <a:lnTo>
                  <a:pt x="679276" y="0"/>
                </a:lnTo>
                <a:lnTo>
                  <a:pt x="680609" y="2052"/>
                </a:lnTo>
                <a:lnTo>
                  <a:pt x="1" y="2052"/>
                </a:lnTo>
                <a:lnTo>
                  <a:pt x="1" y="49539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DEF08746-79F5-4E47-9182-C679778DA86E}"/>
              </a:ext>
            </a:extLst>
          </p:cNvPr>
          <p:cNvSpPr/>
          <p:nvPr userDrawn="1"/>
        </p:nvSpPr>
        <p:spPr>
          <a:xfrm>
            <a:off x="6453612" y="351767"/>
            <a:ext cx="5482376" cy="2313405"/>
          </a:xfrm>
          <a:prstGeom prst="rect">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Parallelogram 48">
            <a:extLst>
              <a:ext uri="{FF2B5EF4-FFF2-40B4-BE49-F238E27FC236}">
                <a16:creationId xmlns:a16="http://schemas.microsoft.com/office/drawing/2014/main" id="{EC334583-1A20-429B-B712-A3F6D5678091}"/>
              </a:ext>
            </a:extLst>
          </p:cNvPr>
          <p:cNvSpPr/>
          <p:nvPr userDrawn="1"/>
        </p:nvSpPr>
        <p:spPr>
          <a:xfrm flipH="1">
            <a:off x="9321800" y="3280229"/>
            <a:ext cx="2436948" cy="3577771"/>
          </a:xfrm>
          <a:prstGeom prst="parallelogram">
            <a:avLst>
              <a:gd name="adj" fmla="val 8945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938FE4D-CED9-4308-A829-5DE26E9B7291}"/>
              </a:ext>
            </a:extLst>
          </p:cNvPr>
          <p:cNvSpPr>
            <a:spLocks noGrp="1"/>
          </p:cNvSpPr>
          <p:nvPr userDrawn="1">
            <p:ph type="ctrTitle"/>
          </p:nvPr>
        </p:nvSpPr>
        <p:spPr>
          <a:xfrm>
            <a:off x="6635750" y="573407"/>
            <a:ext cx="5118100" cy="1354217"/>
          </a:xfrm>
        </p:spPr>
        <p:txBody>
          <a:bodyPr wrap="square" lIns="0" tIns="0" rIns="0" bIns="0" anchor="ctr" anchorCtr="0">
            <a:spAutoFit/>
          </a:bodyPr>
          <a:lstStyle>
            <a:lvl1pPr algn="ctr">
              <a:lnSpc>
                <a:spcPct val="100000"/>
              </a:lnSpc>
              <a:defRPr sz="4400">
                <a:solidFill>
                  <a:schemeClr val="bg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ACA9A40F-4BE6-497B-8C16-7C8A451CB3CC}"/>
              </a:ext>
            </a:extLst>
          </p:cNvPr>
          <p:cNvSpPr>
            <a:spLocks noGrp="1"/>
          </p:cNvSpPr>
          <p:nvPr userDrawn="1">
            <p:ph type="subTitle" idx="1"/>
          </p:nvPr>
        </p:nvSpPr>
        <p:spPr>
          <a:xfrm>
            <a:off x="6635750" y="2079477"/>
            <a:ext cx="5118100" cy="369332"/>
          </a:xfrm>
        </p:spPr>
        <p:txBody>
          <a:bodyPr wrap="square" lIns="0" tIns="0" rIns="0" bIns="0" anchor="t" anchorCtr="0">
            <a:spAutoFit/>
          </a:bodyPr>
          <a:lstStyle>
            <a:lvl1pPr marL="0" indent="0" algn="ctr">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a:extLst>
              <a:ext uri="{FF2B5EF4-FFF2-40B4-BE49-F238E27FC236}">
                <a16:creationId xmlns:a16="http://schemas.microsoft.com/office/drawing/2014/main" id="{669FB3FC-992D-4A0A-8E59-5BCC9C2786F9}"/>
              </a:ext>
            </a:extLst>
          </p:cNvPr>
          <p:cNvSpPr>
            <a:spLocks noGrp="1"/>
          </p:cNvSpPr>
          <p:nvPr userDrawn="1">
            <p:ph type="sldNum" sz="quarter" idx="12"/>
          </p:nvPr>
        </p:nvSpPr>
        <p:spPr>
          <a:xfrm>
            <a:off x="5900737" y="6551354"/>
            <a:ext cx="390526" cy="184666"/>
          </a:xfrm>
        </p:spPr>
        <p:txBody>
          <a:bodyPr wrap="square" lIns="0" tIns="0" rIns="0" bIns="0" anchor="b" anchorCtr="0">
            <a:spAutoFit/>
          </a:bodyPr>
          <a:lstStyle>
            <a:lvl1pPr algn="ctr">
              <a:defRPr>
                <a:solidFill>
                  <a:schemeClr val="bg1"/>
                </a:solidFill>
              </a:defRPr>
            </a:lvl1pPr>
          </a:lstStyle>
          <a:p>
            <a:fld id="{C7F5C3B8-40BC-455A-BE9A-A2740983B655}" type="slidenum">
              <a:rPr lang="en-US" smtClean="0"/>
              <a:pPr/>
              <a:t>‹#›</a:t>
            </a:fld>
            <a:endParaRPr lang="en-US" dirty="0"/>
          </a:p>
        </p:txBody>
      </p:sp>
      <p:sp>
        <p:nvSpPr>
          <p:cNvPr id="48" name="Parallelogram 47">
            <a:extLst>
              <a:ext uri="{FF2B5EF4-FFF2-40B4-BE49-F238E27FC236}">
                <a16:creationId xmlns:a16="http://schemas.microsoft.com/office/drawing/2014/main" id="{6BEEB10F-ED37-4B20-8003-93B766818F8A}"/>
              </a:ext>
            </a:extLst>
          </p:cNvPr>
          <p:cNvSpPr/>
          <p:nvPr userDrawn="1"/>
        </p:nvSpPr>
        <p:spPr>
          <a:xfrm>
            <a:off x="6656618" y="3975100"/>
            <a:ext cx="2148114" cy="2882900"/>
          </a:xfrm>
          <a:prstGeom prst="parallelogram">
            <a:avLst>
              <a:gd name="adj" fmla="val 82219"/>
            </a:avLst>
          </a:prstGeom>
          <a:solidFill>
            <a:srgbClr val="006C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45">
            <a:extLst>
              <a:ext uri="{FF2B5EF4-FFF2-40B4-BE49-F238E27FC236}">
                <a16:creationId xmlns:a16="http://schemas.microsoft.com/office/drawing/2014/main" id="{C6CD7EA5-71D2-45D7-BB10-CE5CCD701CBB}"/>
              </a:ext>
            </a:extLst>
          </p:cNvPr>
          <p:cNvSpPr/>
          <p:nvPr userDrawn="1"/>
        </p:nvSpPr>
        <p:spPr>
          <a:xfrm>
            <a:off x="6859818" y="3005326"/>
            <a:ext cx="4711700" cy="3852674"/>
          </a:xfrm>
          <a:custGeom>
            <a:avLst/>
            <a:gdLst>
              <a:gd name="connsiteX0" fmla="*/ 2355850 w 4711700"/>
              <a:gd name="connsiteY0" fmla="*/ 0 h 3852674"/>
              <a:gd name="connsiteX1" fmla="*/ 4711700 w 4711700"/>
              <a:gd name="connsiteY1" fmla="*/ 3852674 h 3852674"/>
              <a:gd name="connsiteX2" fmla="*/ 0 w 4711700"/>
              <a:gd name="connsiteY2" fmla="*/ 3852674 h 3852674"/>
            </a:gdLst>
            <a:ahLst/>
            <a:cxnLst>
              <a:cxn ang="0">
                <a:pos x="connsiteX0" y="connsiteY0"/>
              </a:cxn>
              <a:cxn ang="0">
                <a:pos x="connsiteX1" y="connsiteY1"/>
              </a:cxn>
              <a:cxn ang="0">
                <a:pos x="connsiteX2" y="connsiteY2"/>
              </a:cxn>
            </a:cxnLst>
            <a:rect l="l" t="t" r="r" b="b"/>
            <a:pathLst>
              <a:path w="4711700" h="3852674">
                <a:moveTo>
                  <a:pt x="2355850" y="0"/>
                </a:moveTo>
                <a:lnTo>
                  <a:pt x="4711700" y="3852674"/>
                </a:lnTo>
                <a:lnTo>
                  <a:pt x="0" y="38526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Isosceles Triangle 41">
            <a:extLst>
              <a:ext uri="{FF2B5EF4-FFF2-40B4-BE49-F238E27FC236}">
                <a16:creationId xmlns:a16="http://schemas.microsoft.com/office/drawing/2014/main" id="{7401A48E-B14E-4F96-A489-E2B58D7994A3}"/>
              </a:ext>
            </a:extLst>
          </p:cNvPr>
          <p:cNvSpPr/>
          <p:nvPr userDrawn="1"/>
        </p:nvSpPr>
        <p:spPr>
          <a:xfrm>
            <a:off x="7063018" y="3337631"/>
            <a:ext cx="4305300" cy="352036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generated with very high confidence">
            <a:extLst>
              <a:ext uri="{FF2B5EF4-FFF2-40B4-BE49-F238E27FC236}">
                <a16:creationId xmlns:a16="http://schemas.microsoft.com/office/drawing/2014/main" id="{5DA47C8E-4828-4F5F-A068-95E7164B296C}"/>
              </a:ext>
            </a:extLst>
          </p:cNvPr>
          <p:cNvPicPr>
            <a:picLocks noChangeAspect="1"/>
          </p:cNvPicPr>
          <p:nvPr userDrawn="1"/>
        </p:nvPicPr>
        <p:blipFill rotWithShape="1">
          <a:blip r:embed="rId7"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a:xfrm>
            <a:off x="7821932" y="4762032"/>
            <a:ext cx="2633980" cy="1955180"/>
          </a:xfrm>
          <a:prstGeom prst="rect">
            <a:avLst/>
          </a:prstGeom>
        </p:spPr>
      </p:pic>
    </p:spTree>
    <p:extLst>
      <p:ext uri="{BB962C8B-B14F-4D97-AF65-F5344CB8AC3E}">
        <p14:creationId xmlns:p14="http://schemas.microsoft.com/office/powerpoint/2010/main" val="10289096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BA3CC-025C-4EA4-8679-C0DB5D7165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1CCA0C-FC3E-404B-B320-70688A11731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F49C4C-5393-4465-A336-F8BF3D49842D}"/>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221E06AD-BA6D-4C8E-A29E-048C6A64C71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32F8680-52C5-4CB5-9156-22FA22E6A073}"/>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1496471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F1AC72C-B8A8-4A75-977F-B439F1C67E5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CF8BF47-1547-480D-ABAF-23B8AE264C0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C5BA32-BAC5-43FD-9C94-9AD5E09F476A}"/>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8D8641D1-8279-44B1-A286-5269CDC935C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22F6642-AC8A-486C-B788-B08941366C39}"/>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8525284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091CF32-D2B2-4820-BDEA-319B17BCC5CA}"/>
              </a:ext>
            </a:extLst>
          </p:cNvPr>
          <p:cNvGraphicFramePr>
            <a:graphicFrameLocks noChangeAspect="1"/>
          </p:cNvGraphicFramePr>
          <p:nvPr userDrawn="1">
            <p:custDataLst>
              <p:tags r:id="rId1"/>
            </p:custDataLst>
            <p:extLst>
              <p:ext uri="{D42A27DB-BD31-4B8C-83A1-F6EECF244321}">
                <p14:modId xmlns:p14="http://schemas.microsoft.com/office/powerpoint/2010/main" val="304994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FCE9226-7B51-4850-82B1-266E761C2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16" name="Rectangle 15">
            <a:extLst>
              <a:ext uri="{FF2B5EF4-FFF2-40B4-BE49-F238E27FC236}">
                <a16:creationId xmlns:a16="http://schemas.microsoft.com/office/drawing/2014/main" id="{75FDA667-2EFE-4286-A424-22483E07B632}"/>
              </a:ext>
            </a:extLst>
          </p:cNvPr>
          <p:cNvSpPr/>
          <p:nvPr userDrawn="1"/>
        </p:nvSpPr>
        <p:spPr>
          <a:xfrm>
            <a:off x="10322384" y="1252743"/>
            <a:ext cx="1090613" cy="88373"/>
          </a:xfrm>
          <a:prstGeom prst="rect">
            <a:avLst/>
          </a:prstGeom>
          <a:gradFill flip="none" rotWithShape="1">
            <a:gsLst>
              <a:gs pos="0">
                <a:schemeClr val="bg1"/>
              </a:gs>
              <a:gs pos="91000">
                <a:schemeClr val="accent3">
                  <a:lumMod val="60000"/>
                  <a:lumOff val="4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DF41AA1-F81B-4AC3-8600-4FFE1A445C49}"/>
              </a:ext>
            </a:extLst>
          </p:cNvPr>
          <p:cNvSpPr/>
          <p:nvPr userDrawn="1"/>
        </p:nvSpPr>
        <p:spPr>
          <a:xfrm>
            <a:off x="1279615" y="1283275"/>
            <a:ext cx="10122695" cy="27309"/>
          </a:xfrm>
          <a:prstGeom prst="rect">
            <a:avLst/>
          </a:prstGeom>
          <a:gradFill flip="none" rotWithShape="1">
            <a:gsLst>
              <a:gs pos="0">
                <a:schemeClr val="bg1"/>
              </a:gs>
              <a:gs pos="91000">
                <a:schemeClr val="accent3">
                  <a:alpha val="38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AD66238-899C-408F-B56B-113ED372F0EC}"/>
              </a:ext>
            </a:extLst>
          </p:cNvPr>
          <p:cNvSpPr/>
          <p:nvPr userDrawn="1"/>
        </p:nvSpPr>
        <p:spPr>
          <a:xfrm>
            <a:off x="0" y="6429375"/>
            <a:ext cx="12192000" cy="428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B33A47-1144-4E56-85E7-197E58A27919}"/>
              </a:ext>
            </a:extLst>
          </p:cNvPr>
          <p:cNvSpPr>
            <a:spLocks noGrp="1"/>
          </p:cNvSpPr>
          <p:nvPr>
            <p:ph type="title"/>
          </p:nvPr>
        </p:nvSpPr>
        <p:spPr>
          <a:xfrm>
            <a:off x="866775" y="580345"/>
            <a:ext cx="9815540" cy="553998"/>
          </a:xfrm>
        </p:spPr>
        <p:txBody>
          <a:bodyPr wrap="square" lIns="0" tIns="0" rIns="0" bIns="0" anchor="b" anchorCtr="0">
            <a:spAutoFit/>
          </a:bodyPr>
          <a:lstStyle>
            <a:lvl1pPr>
              <a:lnSpc>
                <a:spcPct val="100000"/>
              </a:lnSpc>
              <a:defRPr sz="3600">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E5496587-0D3A-45BD-881D-EE3395851707}"/>
              </a:ext>
            </a:extLst>
          </p:cNvPr>
          <p:cNvSpPr>
            <a:spLocks noGrp="1"/>
          </p:cNvSpPr>
          <p:nvPr>
            <p:ph idx="1"/>
          </p:nvPr>
        </p:nvSpPr>
        <p:spPr>
          <a:xfrm>
            <a:off x="866774" y="1996020"/>
            <a:ext cx="10083433" cy="1795363"/>
          </a:xfrm>
        </p:spPr>
        <p:txBody>
          <a:bodyPr wrap="square" lIns="0" tIns="0" rIns="0" bIns="0">
            <a:spAutoFit/>
          </a:bodyPr>
          <a:lstStyle>
            <a:lvl1pPr>
              <a:lnSpc>
                <a:spcPct val="100000"/>
              </a:lnSpc>
              <a:defRPr sz="2000"/>
            </a:lvl1pPr>
            <a:lvl2pPr>
              <a:lnSpc>
                <a:spcPct val="100000"/>
              </a:lnSpc>
              <a:defRPr sz="2000"/>
            </a:lvl2pPr>
            <a:lvl3pPr>
              <a:lnSpc>
                <a:spcPct val="100000"/>
              </a:lnSpc>
              <a:defRPr sz="2000"/>
            </a:lvl3pPr>
            <a:lvl4pPr>
              <a:lnSpc>
                <a:spcPct val="100000"/>
              </a:lnSpc>
              <a:defRPr sz="2000"/>
            </a:lvl4pPr>
            <a:lvl5pPr>
              <a:lnSpc>
                <a:spcPct val="100000"/>
              </a:lnSpc>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BB2D00BE-68DB-47E8-84E6-AD8C27D7E941}"/>
              </a:ext>
            </a:extLst>
          </p:cNvPr>
          <p:cNvSpPr>
            <a:spLocks noGrp="1"/>
          </p:cNvSpPr>
          <p:nvPr>
            <p:ph type="sldNum" sz="quarter" idx="12"/>
          </p:nvPr>
        </p:nvSpPr>
        <p:spPr>
          <a:xfrm flipH="1">
            <a:off x="5846652" y="6551354"/>
            <a:ext cx="498696" cy="184666"/>
          </a:xfrm>
        </p:spPr>
        <p:txBody>
          <a:bodyPr vert="horz" wrap="square" lIns="0" tIns="0" rIns="0" bIns="0" rtlCol="0" anchor="b" anchorCtr="0">
            <a:spAutoFit/>
          </a:bodyPr>
          <a:lstStyle>
            <a:lvl1pPr algn="ctr">
              <a:defRPr lang="en-US" smtClean="0">
                <a:solidFill>
                  <a:schemeClr val="bg1"/>
                </a:solidFill>
              </a:defRPr>
            </a:lvl1pPr>
          </a:lstStyle>
          <a:p>
            <a:fld id="{C7F5C3B8-40BC-455A-BE9A-A2740983B655}" type="slidenum">
              <a:rPr lang="en-US" smtClean="0"/>
              <a:pPr/>
              <a:t>‹#›</a:t>
            </a:fld>
            <a:endParaRPr lang="en-US" dirty="0"/>
          </a:p>
        </p:txBody>
      </p:sp>
      <p:pic>
        <p:nvPicPr>
          <p:cNvPr id="9" name="Picture 8" descr="A close up of a sign&#10;&#10;Description generated with very high confidence">
            <a:extLst>
              <a:ext uri="{FF2B5EF4-FFF2-40B4-BE49-F238E27FC236}">
                <a16:creationId xmlns:a16="http://schemas.microsoft.com/office/drawing/2014/main" id="{F0F5A356-2B2B-4F93-B016-221F26030A9B}"/>
              </a:ext>
            </a:extLst>
          </p:cNvPr>
          <p:cNvPicPr>
            <a:picLocks noChangeAspect="1"/>
          </p:cNvPicPr>
          <p:nvPr userDrawn="1"/>
        </p:nvPicPr>
        <p:blipFill rotWithShape="1">
          <a:blip r:embed="rId6" cstate="print">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a:xfrm>
            <a:off x="10822848" y="243139"/>
            <a:ext cx="1226278" cy="910254"/>
          </a:xfrm>
          <a:prstGeom prst="rect">
            <a:avLst/>
          </a:prstGeom>
        </p:spPr>
      </p:pic>
      <p:pic>
        <p:nvPicPr>
          <p:cNvPr id="54" name="Picture 53">
            <a:extLst>
              <a:ext uri="{FF2B5EF4-FFF2-40B4-BE49-F238E27FC236}">
                <a16:creationId xmlns:a16="http://schemas.microsoft.com/office/drawing/2014/main" id="{C4954C00-FDAC-465E-959D-3F7223FD1513}"/>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731042" y="1207491"/>
            <a:ext cx="801834" cy="594426"/>
          </a:xfrm>
          <a:prstGeom prst="rect">
            <a:avLst/>
          </a:prstGeom>
        </p:spPr>
      </p:pic>
      <p:sp>
        <p:nvSpPr>
          <p:cNvPr id="4" name="Rectangle 3">
            <a:extLst>
              <a:ext uri="{FF2B5EF4-FFF2-40B4-BE49-F238E27FC236}">
                <a16:creationId xmlns:a16="http://schemas.microsoft.com/office/drawing/2014/main" id="{84CE5873-6A53-416A-850E-F06FA524306B}"/>
              </a:ext>
            </a:extLst>
          </p:cNvPr>
          <p:cNvSpPr/>
          <p:nvPr userDrawn="1"/>
        </p:nvSpPr>
        <p:spPr>
          <a:xfrm>
            <a:off x="-4480325" y="243139"/>
            <a:ext cx="4576083" cy="6463308"/>
          </a:xfrm>
          <a:prstGeom prst="rect">
            <a:avLst/>
          </a:prstGeom>
        </p:spPr>
        <p:txBody>
          <a:bodyPr wrap="square">
            <a:spAutoFit/>
          </a:bodyPr>
          <a:lstStyle/>
          <a:p>
            <a:r>
              <a:rPr lang="en-IN" dirty="0"/>
              <a:t>Could you please slide the Glock (gun) in the second slide a little to the right so it isn't so close to the edge of the slide.  Also, I really like what you did with the bullet.  Under normal circumstances, this would be perfect, but since these are gun guys, they will likely point out an issue with the bullet.  The bullet you used is still a rifle bullet (they are narrower and pointy at the end - pistol bullets are fat and rounded).  Also, what you show is the bullet and the casing.  The casing does not get fired out of the gun, only the bullet does.  I've attached a diagram of a pistol bullet and the different parts so you can see what I mean.  If you look at the previous picture I sent (firingbullet.jpg) you'll get a sense of what just the bullet coming out of the barrel looks like.  The bullet doesn't have to be as detailed as the one in firingbullet.jpg but it can't include the bullet case.  I know this probably seems very minor, so I apologize, but trust me everyone who sees this slide will comment about it if we don't change it.</a:t>
            </a:r>
          </a:p>
        </p:txBody>
      </p:sp>
      <p:pic>
        <p:nvPicPr>
          <p:cNvPr id="3115" name="Picture 43" descr="Image result for pistol bullet">
            <a:extLst>
              <a:ext uri="{FF2B5EF4-FFF2-40B4-BE49-F238E27FC236}">
                <a16:creationId xmlns:a16="http://schemas.microsoft.com/office/drawing/2014/main" id="{9BC0F0E5-2F15-42F6-BEF2-E1EC85DA508A}"/>
              </a:ext>
            </a:extLst>
          </p:cNvPr>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a:stretch/>
        </p:blipFill>
        <p:spPr bwMode="auto">
          <a:xfrm rot="5400000">
            <a:off x="11430636" y="1210218"/>
            <a:ext cx="116770" cy="17342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5361891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713E101-41A7-481A-AD8A-09D26428A95A}"/>
              </a:ext>
            </a:extLst>
          </p:cNvPr>
          <p:cNvGraphicFramePr>
            <a:graphicFrameLocks noChangeAspect="1"/>
          </p:cNvGraphicFramePr>
          <p:nvPr userDrawn="1">
            <p:custDataLst>
              <p:tags r:id="rId1"/>
            </p:custDataLst>
            <p:extLst>
              <p:ext uri="{D42A27DB-BD31-4B8C-83A1-F6EECF244321}">
                <p14:modId xmlns:p14="http://schemas.microsoft.com/office/powerpoint/2010/main" val="13577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ABCD998-1A21-4B22-81B1-9D5772CC12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Calibri" panose="020F0502020204030204" pitchFamily="34" charset="0"/>
              <a:ea typeface="+mj-ea"/>
              <a:cs typeface="+mj-cs"/>
              <a:sym typeface="Calibri" panose="020F0502020204030204" pitchFamily="34" charset="0"/>
            </a:endParaRPr>
          </a:p>
        </p:txBody>
      </p:sp>
      <p:grpSp>
        <p:nvGrpSpPr>
          <p:cNvPr id="16" name="Group 15">
            <a:extLst>
              <a:ext uri="{FF2B5EF4-FFF2-40B4-BE49-F238E27FC236}">
                <a16:creationId xmlns:a16="http://schemas.microsoft.com/office/drawing/2014/main" id="{8FBC9F4B-F16E-4480-B393-AA0A81DC3DE0}"/>
              </a:ext>
            </a:extLst>
          </p:cNvPr>
          <p:cNvGrpSpPr/>
          <p:nvPr userDrawn="1"/>
        </p:nvGrpSpPr>
        <p:grpSpPr>
          <a:xfrm>
            <a:off x="0" y="0"/>
            <a:ext cx="12192000" cy="6858000"/>
            <a:chOff x="0" y="0"/>
            <a:chExt cx="12192000" cy="6858000"/>
          </a:xfrm>
        </p:grpSpPr>
        <p:pic>
          <p:nvPicPr>
            <p:cNvPr id="8" name="Picture 7" descr="A group of people standing in front of a crowd posing for the camera&#10;&#10;Description generated with very high confidence">
              <a:extLst>
                <a:ext uri="{FF2B5EF4-FFF2-40B4-BE49-F238E27FC236}">
                  <a16:creationId xmlns:a16="http://schemas.microsoft.com/office/drawing/2014/main" id="{A0F2AECA-9785-4487-ACB0-FE4299883724}"/>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r="-52"/>
            <a:stretch/>
          </p:blipFill>
          <p:spPr>
            <a:xfrm>
              <a:off x="0" y="0"/>
              <a:ext cx="12192000" cy="6858000"/>
            </a:xfrm>
            <a:prstGeom prst="rect">
              <a:avLst/>
            </a:prstGeom>
          </p:spPr>
        </p:pic>
        <p:sp>
          <p:nvSpPr>
            <p:cNvPr id="9" name="Rectangle 8">
              <a:extLst>
                <a:ext uri="{FF2B5EF4-FFF2-40B4-BE49-F238E27FC236}">
                  <a16:creationId xmlns:a16="http://schemas.microsoft.com/office/drawing/2014/main" id="{11F019BE-2C9C-4FB1-A4C3-8A529BB669DD}"/>
                </a:ext>
              </a:extLst>
            </p:cNvPr>
            <p:cNvSpPr/>
            <p:nvPr userDrawn="1"/>
          </p:nvSpPr>
          <p:spPr>
            <a:xfrm>
              <a:off x="0" y="0"/>
              <a:ext cx="12192000" cy="6858000"/>
            </a:xfrm>
            <a:prstGeom prst="rect">
              <a:avLst/>
            </a:prstGeom>
            <a:solidFill>
              <a:schemeClr val="accent4">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6EDD71CC-BBAC-4093-B616-A6D30E35BA30}"/>
              </a:ext>
            </a:extLst>
          </p:cNvPr>
          <p:cNvSpPr>
            <a:spLocks noGrp="1"/>
          </p:cNvSpPr>
          <p:nvPr userDrawn="1">
            <p:ph type="title"/>
          </p:nvPr>
        </p:nvSpPr>
        <p:spPr>
          <a:xfrm>
            <a:off x="3377632" y="4000123"/>
            <a:ext cx="5436736" cy="1354217"/>
          </a:xfrm>
        </p:spPr>
        <p:txBody>
          <a:bodyPr wrap="square" lIns="0" tIns="0" rIns="0" bIns="0" anchor="ctr" anchorCtr="0">
            <a:spAutoFit/>
          </a:bodyPr>
          <a:lstStyle>
            <a:lvl1pPr algn="ctr">
              <a:lnSpc>
                <a:spcPct val="100000"/>
              </a:lnSpc>
              <a:defRPr sz="44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FC23BD-E606-4B69-8A34-C6349CA07B26}"/>
              </a:ext>
            </a:extLst>
          </p:cNvPr>
          <p:cNvSpPr>
            <a:spLocks noGrp="1"/>
          </p:cNvSpPr>
          <p:nvPr userDrawn="1">
            <p:ph type="sldNum" sz="quarter" idx="12"/>
          </p:nvPr>
        </p:nvSpPr>
        <p:spPr>
          <a:xfrm>
            <a:off x="5905500" y="6551354"/>
            <a:ext cx="381000" cy="184666"/>
          </a:xfrm>
        </p:spPr>
        <p:txBody>
          <a:bodyPr/>
          <a:lstStyle>
            <a:lvl1pPr algn="ctr">
              <a:defRPr>
                <a:solidFill>
                  <a:schemeClr val="bg1"/>
                </a:solidFill>
              </a:defRPr>
            </a:lvl1pPr>
          </a:lstStyle>
          <a:p>
            <a:fld id="{C7F5C3B8-40BC-455A-BE9A-A2740983B655}" type="slidenum">
              <a:rPr lang="en-US" smtClean="0"/>
              <a:pPr/>
              <a:t>‹#›</a:t>
            </a:fld>
            <a:endParaRPr lang="en-US" dirty="0"/>
          </a:p>
        </p:txBody>
      </p:sp>
      <p:sp>
        <p:nvSpPr>
          <p:cNvPr id="12" name="Rectangle 11">
            <a:extLst>
              <a:ext uri="{FF2B5EF4-FFF2-40B4-BE49-F238E27FC236}">
                <a16:creationId xmlns:a16="http://schemas.microsoft.com/office/drawing/2014/main" id="{AAAF7C0B-89DC-4E8E-B303-BBD935933C64}"/>
              </a:ext>
            </a:extLst>
          </p:cNvPr>
          <p:cNvSpPr/>
          <p:nvPr userDrawn="1"/>
        </p:nvSpPr>
        <p:spPr>
          <a:xfrm>
            <a:off x="3142065" y="3813631"/>
            <a:ext cx="5907871" cy="172720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7044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AA53B-67BE-481D-ADD6-8AA166B298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AFEC41-C211-47BC-9D4E-052F2749C8F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E3007F-19B6-4B2C-A58B-F13DDE6648E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7DEB456-D89E-4E70-BCFA-E6510C3EB398}"/>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1169FE49-D723-4D8C-9AAC-4CEDC56E235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6AC3E49-D673-4A3D-B1A3-95F5BAC12C87}"/>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5935423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75521-1F61-42A1-81C2-842432678C3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A5694E2-DE8D-4AE0-B9C0-511B681F44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00C0697-C68D-4A9E-A063-217A9906C96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6055595-E16F-45F0-BCD5-CF32992A647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D6CDD24-A712-4ED9-BB13-A2FD82ACFB9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61282D4-98CF-43B0-B7E3-409364A4552A}"/>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8" name="Footer Placeholder 7">
            <a:extLst>
              <a:ext uri="{FF2B5EF4-FFF2-40B4-BE49-F238E27FC236}">
                <a16:creationId xmlns:a16="http://schemas.microsoft.com/office/drawing/2014/main" id="{4E7E7056-49C8-426B-A09F-BAF3285906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628C75C5-5551-4E1D-B963-9212026C9B0E}"/>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1503855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7472B-EBD5-460D-A932-3E110715EB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58CEB6-8734-4814-A46B-3D6945841E3E}"/>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C8A27BE8-0E82-467E-9873-16FD7B8311A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FE9A5EF3-4E28-4A80-947D-74595E18CDB1}"/>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21656669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DBC353-3D9A-4F35-9B08-A863D72FA43B}"/>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3" name="Footer Placeholder 2">
            <a:extLst>
              <a:ext uri="{FF2B5EF4-FFF2-40B4-BE49-F238E27FC236}">
                <a16:creationId xmlns:a16="http://schemas.microsoft.com/office/drawing/2014/main" id="{7EBC19BB-24E2-43DF-911D-F361C7E2B51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B0858CD-2E56-41C6-B4EB-9061F06ED695}"/>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1791030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1EF38-BECC-49C1-911A-21803556A0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264F35F-B9B0-45B4-B041-B53B0DE594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0B0C199-CE48-423F-88D9-D6A5E09D0C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7C597C-5297-4044-BE47-0594AE8E6287}"/>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2F9A8034-6C2B-4153-8F39-5024A0A33FF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4605C56-9124-4447-91C6-28A2F950C439}"/>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3393177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1CF7F-2D50-4494-BE9D-0DA39F84C7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5128230-4DFD-46D2-B0F2-4CA249AD3C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32C5037-987D-44A3-BDCA-53DBD37171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0443407-C14F-49B3-A7D4-5980B6AC5701}"/>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AE1D9237-8B26-4C4B-9A37-305C573065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D5AABCD-CD88-47C3-9325-439E2951A312}"/>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286787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A4969F5-5C0B-4027-ADE0-42C9A06818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918EF68-2453-4802-8EF9-A52683BEC6F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F20ECA4-042A-48FC-B860-4D72A6D68A01}"/>
              </a:ext>
            </a:extLst>
          </p:cNvPr>
          <p:cNvSpPr>
            <a:spLocks noGrp="1"/>
          </p:cNvSpPr>
          <p:nvPr>
            <p:ph type="sldNum" sz="quarter" idx="4"/>
          </p:nvPr>
        </p:nvSpPr>
        <p:spPr>
          <a:xfrm>
            <a:off x="5905500" y="6551354"/>
            <a:ext cx="381000" cy="184666"/>
          </a:xfrm>
          <a:prstGeom prst="rect">
            <a:avLst/>
          </a:prstGeom>
        </p:spPr>
        <p:txBody>
          <a:bodyPr vert="horz" wrap="square" lIns="0" tIns="0" rIns="0" bIns="0" rtlCol="0" anchor="b" anchorCtr="0">
            <a:spAutoFit/>
          </a:bodyPr>
          <a:lstStyle>
            <a:lvl1pPr>
              <a:defRPr lang="en-US" sz="1200" smtClean="0">
                <a:solidFill>
                  <a:schemeClr val="accent4"/>
                </a:solidFill>
              </a:defRPr>
            </a:lvl1pPr>
          </a:lstStyle>
          <a:p>
            <a:pPr algn="ctr"/>
            <a:fld id="{C7F5C3B8-40BC-455A-BE9A-A2740983B655}" type="slidenum">
              <a:rPr lang="en-US" smtClean="0"/>
              <a:pPr algn="ctr"/>
              <a:t>‹#›</a:t>
            </a:fld>
            <a:endParaRPr lang="en-US"/>
          </a:p>
        </p:txBody>
      </p:sp>
    </p:spTree>
    <p:extLst>
      <p:ext uri="{BB962C8B-B14F-4D97-AF65-F5344CB8AC3E}">
        <p14:creationId xmlns:p14="http://schemas.microsoft.com/office/powerpoint/2010/main" val="14982502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7.png"/><Relationship Id="rId5" Type="http://schemas.openxmlformats.org/officeDocument/2006/relationships/image" Target="../media/image2.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05A54BE-5660-40E0-BEFB-051F5DE2CA39}"/>
              </a:ext>
            </a:extLst>
          </p:cNvPr>
          <p:cNvGraphicFramePr>
            <a:graphicFrameLocks noChangeAspect="1"/>
          </p:cNvGraphicFramePr>
          <p:nvPr>
            <p:custDataLst>
              <p:tags r:id="rId1"/>
            </p:custDataLst>
            <p:extLst>
              <p:ext uri="{D42A27DB-BD31-4B8C-83A1-F6EECF244321}">
                <p14:modId xmlns:p14="http://schemas.microsoft.com/office/powerpoint/2010/main" val="4049448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6EA545D3-6A41-4534-A25F-6D597053C300}"/>
              </a:ext>
            </a:extLst>
          </p:cNvPr>
          <p:cNvSpPr>
            <a:spLocks noGrp="1"/>
          </p:cNvSpPr>
          <p:nvPr>
            <p:ph type="subTitle" idx="1"/>
          </p:nvPr>
        </p:nvSpPr>
        <p:spPr/>
        <p:txBody>
          <a:bodyPr/>
          <a:lstStyle/>
          <a:p>
            <a:r>
              <a:rPr lang="en-IN" dirty="0"/>
              <a:t>Will pass 1 Million Dollars in 2023</a:t>
            </a:r>
            <a:endParaRPr lang="en-US" dirty="0"/>
          </a:p>
        </p:txBody>
      </p:sp>
      <p:sp>
        <p:nvSpPr>
          <p:cNvPr id="12" name="Slide Number Placeholder 11">
            <a:extLst>
              <a:ext uri="{FF2B5EF4-FFF2-40B4-BE49-F238E27FC236}">
                <a16:creationId xmlns:a16="http://schemas.microsoft.com/office/drawing/2014/main" id="{38C8B8CD-9025-49A6-A8E4-186E355D8B8E}"/>
              </a:ext>
            </a:extLst>
          </p:cNvPr>
          <p:cNvSpPr>
            <a:spLocks noGrp="1"/>
          </p:cNvSpPr>
          <p:nvPr>
            <p:ph type="sldNum" sz="quarter" idx="12"/>
          </p:nvPr>
        </p:nvSpPr>
        <p:spPr/>
        <p:txBody>
          <a:bodyPr/>
          <a:lstStyle/>
          <a:p>
            <a:fld id="{C7F5C3B8-40BC-455A-BE9A-A2740983B655}" type="slidenum">
              <a:rPr lang="en-US" smtClean="0"/>
              <a:pPr/>
              <a:t>1</a:t>
            </a:fld>
            <a:endParaRPr lang="en-US" dirty="0"/>
          </a:p>
        </p:txBody>
      </p:sp>
      <p:sp>
        <p:nvSpPr>
          <p:cNvPr id="14" name="Title 13">
            <a:extLst>
              <a:ext uri="{FF2B5EF4-FFF2-40B4-BE49-F238E27FC236}">
                <a16:creationId xmlns:a16="http://schemas.microsoft.com/office/drawing/2014/main" id="{9C7FE47A-C9F1-4A48-879C-F510C0293B21}"/>
              </a:ext>
            </a:extLst>
          </p:cNvPr>
          <p:cNvSpPr>
            <a:spLocks noGrp="1"/>
          </p:cNvSpPr>
          <p:nvPr>
            <p:ph type="ctrTitle"/>
          </p:nvPr>
        </p:nvSpPr>
        <p:spPr>
          <a:xfrm>
            <a:off x="6635750" y="911961"/>
            <a:ext cx="5118100" cy="677108"/>
          </a:xfrm>
        </p:spPr>
        <p:txBody>
          <a:bodyPr/>
          <a:lstStyle/>
          <a:p>
            <a:r>
              <a:rPr lang="en-IN" dirty="0"/>
              <a:t>SSSF SCHOLARSHIPS</a:t>
            </a:r>
            <a:endParaRPr lang="en-US" dirty="0"/>
          </a:p>
        </p:txBody>
      </p:sp>
    </p:spTree>
    <p:extLst>
      <p:ext uri="{BB962C8B-B14F-4D97-AF65-F5344CB8AC3E}">
        <p14:creationId xmlns:p14="http://schemas.microsoft.com/office/powerpoint/2010/main" val="1083622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C88AEF-A6A5-41D2-BCE1-19BD90F4ABE9}"/>
              </a:ext>
            </a:extLst>
          </p:cNvPr>
          <p:cNvGraphicFramePr>
            <a:graphicFrameLocks noChangeAspect="1"/>
          </p:cNvGraphicFramePr>
          <p:nvPr>
            <p:custDataLst>
              <p:tags r:id="rId1"/>
            </p:custDataLst>
            <p:extLst>
              <p:ext uri="{D42A27DB-BD31-4B8C-83A1-F6EECF244321}">
                <p14:modId xmlns:p14="http://schemas.microsoft.com/office/powerpoint/2010/main" val="271747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7D9DDE-A2DF-4ACB-A000-3918EE7C0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360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E1BD7C72-E815-4D57-932E-9B9A39F85683}"/>
              </a:ext>
            </a:extLst>
          </p:cNvPr>
          <p:cNvSpPr>
            <a:spLocks noGrp="1"/>
          </p:cNvSpPr>
          <p:nvPr>
            <p:ph type="title"/>
          </p:nvPr>
        </p:nvSpPr>
        <p:spPr/>
        <p:txBody>
          <a:bodyPr/>
          <a:lstStyle/>
          <a:p>
            <a:r>
              <a:rPr lang="en-IN" dirty="0"/>
              <a:t>Scholarships</a:t>
            </a:r>
            <a:endParaRPr lang="en-US" dirty="0"/>
          </a:p>
        </p:txBody>
      </p:sp>
      <p:sp>
        <p:nvSpPr>
          <p:cNvPr id="4" name="Slide Number Placeholder 3">
            <a:extLst>
              <a:ext uri="{FF2B5EF4-FFF2-40B4-BE49-F238E27FC236}">
                <a16:creationId xmlns:a16="http://schemas.microsoft.com/office/drawing/2014/main" id="{1BF2203A-CF29-4942-98AE-6FA5CC9DF383}"/>
              </a:ext>
            </a:extLst>
          </p:cNvPr>
          <p:cNvSpPr>
            <a:spLocks noGrp="1"/>
          </p:cNvSpPr>
          <p:nvPr>
            <p:ph type="sldNum" sz="quarter" idx="12"/>
          </p:nvPr>
        </p:nvSpPr>
        <p:spPr>
          <a:xfrm flipH="1">
            <a:off x="5846652" y="6539562"/>
            <a:ext cx="498696" cy="184666"/>
          </a:xfrm>
        </p:spPr>
        <p:txBody>
          <a:bodyPr/>
          <a:lstStyle/>
          <a:p>
            <a:fld id="{C7F5C3B8-40BC-455A-BE9A-A2740983B655}" type="slidenum">
              <a:rPr lang="en-US" smtClean="0"/>
              <a:pPr/>
              <a:t>2</a:t>
            </a:fld>
            <a:endParaRPr lang="en-US"/>
          </a:p>
        </p:txBody>
      </p:sp>
      <p:sp>
        <p:nvSpPr>
          <p:cNvPr id="8" name="Rectangle 7">
            <a:extLst>
              <a:ext uri="{FF2B5EF4-FFF2-40B4-BE49-F238E27FC236}">
                <a16:creationId xmlns:a16="http://schemas.microsoft.com/office/drawing/2014/main" id="{6C493FD6-88D3-4D6A-84A4-272B8D8DDEF3}"/>
              </a:ext>
            </a:extLst>
          </p:cNvPr>
          <p:cNvSpPr/>
          <p:nvPr/>
        </p:nvSpPr>
        <p:spPr>
          <a:xfrm>
            <a:off x="-4049485" y="1173517"/>
            <a:ext cx="2960914" cy="3693319"/>
          </a:xfrm>
          <a:prstGeom prst="rect">
            <a:avLst/>
          </a:prstGeom>
          <a:solidFill>
            <a:srgbClr val="FFFF00"/>
          </a:solidFill>
        </p:spPr>
        <p:txBody>
          <a:bodyPr wrap="square">
            <a:spAutoFit/>
          </a:bodyPr>
          <a:lstStyle/>
          <a:p>
            <a:r>
              <a:rPr lang="en-IN" dirty="0"/>
              <a:t> Lastly, could we replace the pistol with a Glock (a pistol manufacturer).  I'm attaching a picture (glock.jpg)  I think if you just flip the image it should be fine.  Glock is a founding partner of the Scholastic Action Shooting Program so we'd like to highlight their gun, plus we have the right to use their logo and gun images so we have no issues with copyright.</a:t>
            </a:r>
            <a:endParaRPr lang="en-US" dirty="0"/>
          </a:p>
        </p:txBody>
      </p:sp>
      <p:sp>
        <p:nvSpPr>
          <p:cNvPr id="7" name="Content Placeholder 6">
            <a:extLst>
              <a:ext uri="{FF2B5EF4-FFF2-40B4-BE49-F238E27FC236}">
                <a16:creationId xmlns:a16="http://schemas.microsoft.com/office/drawing/2014/main" id="{DD2601FC-93B4-47EB-CAA5-5B5E547E2F0C}"/>
              </a:ext>
            </a:extLst>
          </p:cNvPr>
          <p:cNvSpPr>
            <a:spLocks noGrp="1"/>
          </p:cNvSpPr>
          <p:nvPr>
            <p:ph idx="1"/>
          </p:nvPr>
        </p:nvSpPr>
        <p:spPr>
          <a:xfrm>
            <a:off x="1303632" y="1618948"/>
            <a:ext cx="10036814" cy="3125787"/>
          </a:xfrm>
        </p:spPr>
        <p:txBody>
          <a:bodyPr/>
          <a:lstStyle/>
          <a:p>
            <a:r>
              <a:rPr lang="en-US" b="1" dirty="0">
                <a:latin typeface="Montserrat" panose="00000500000000000000" pitchFamily="2" charset="0"/>
              </a:rPr>
              <a:t> </a:t>
            </a:r>
            <a:r>
              <a:rPr lang="en-US" b="1" i="0" dirty="0">
                <a:effectLst/>
                <a:latin typeface="Montserrat" panose="00000500000000000000" pitchFamily="2" charset="0"/>
              </a:rPr>
              <a:t>The Scholastic Shooting Sports Foundation (SSSF), offers a scholarship program to reward deserving, graduating seniors in the Scholastic Clay Target Program (SCTP) and Scholastic Action Shooting Program (SASP) with needed college assistance. The main objective is to award as many scholarships as possible to qualifying SCTP / SASP graduating seniors.</a:t>
            </a:r>
          </a:p>
          <a:p>
            <a:endParaRPr lang="en-US" b="1" i="0" dirty="0">
              <a:effectLst/>
              <a:latin typeface="Montserrat" panose="00000500000000000000" pitchFamily="2" charset="0"/>
            </a:endParaRPr>
          </a:p>
          <a:p>
            <a:r>
              <a:rPr lang="en-US" b="1" i="0" dirty="0">
                <a:effectLst/>
                <a:latin typeface="Montserrat" panose="00000500000000000000" pitchFamily="2" charset="0"/>
              </a:rPr>
              <a:t>Since 2013, the SSSF has awarded over $927,000 in scholarship funds benefiting over 950 student athletes, from nearly all 50 states in the Scholastic Clay Target and Scholastic Action Shooting Programs.</a:t>
            </a:r>
          </a:p>
          <a:p>
            <a:endParaRPr lang="en-US" dirty="0"/>
          </a:p>
        </p:txBody>
      </p:sp>
      <p:pic>
        <p:nvPicPr>
          <p:cNvPr id="11" name="Picture 10" descr="A picture containing text, clipart, gambling house&#10;&#10;Description automatically generated">
            <a:extLst>
              <a:ext uri="{FF2B5EF4-FFF2-40B4-BE49-F238E27FC236}">
                <a16:creationId xmlns:a16="http://schemas.microsoft.com/office/drawing/2014/main" id="{77931E34-3FB9-B4B4-5BD2-A3F0800502D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95365" y="4927886"/>
            <a:ext cx="1552575" cy="1238250"/>
          </a:xfrm>
          <a:prstGeom prst="rect">
            <a:avLst/>
          </a:prstGeom>
        </p:spPr>
      </p:pic>
      <p:pic>
        <p:nvPicPr>
          <p:cNvPr id="14" name="Picture 13" descr="Logo&#10;&#10;Description automatically generated">
            <a:extLst>
              <a:ext uri="{FF2B5EF4-FFF2-40B4-BE49-F238E27FC236}">
                <a16:creationId xmlns:a16="http://schemas.microsoft.com/office/drawing/2014/main" id="{9B9E264C-01E9-FEF3-3E98-883C134484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1419" y="4815934"/>
            <a:ext cx="1675896" cy="1289152"/>
          </a:xfrm>
          <a:prstGeom prst="rect">
            <a:avLst/>
          </a:prstGeom>
        </p:spPr>
      </p:pic>
      <p:pic>
        <p:nvPicPr>
          <p:cNvPr id="16" name="Picture 15" descr="Logo&#10;&#10;Description automatically generated">
            <a:extLst>
              <a:ext uri="{FF2B5EF4-FFF2-40B4-BE49-F238E27FC236}">
                <a16:creationId xmlns:a16="http://schemas.microsoft.com/office/drawing/2014/main" id="{CDABFBC7-9AF3-FADE-3F82-514563EA979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54253" y="4780334"/>
            <a:ext cx="2720701" cy="1360351"/>
          </a:xfrm>
          <a:prstGeom prst="rect">
            <a:avLst/>
          </a:prstGeom>
        </p:spPr>
      </p:pic>
    </p:spTree>
    <p:extLst>
      <p:ext uri="{BB962C8B-B14F-4D97-AF65-F5344CB8AC3E}">
        <p14:creationId xmlns:p14="http://schemas.microsoft.com/office/powerpoint/2010/main" val="17528015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B46A5-7FAC-F293-8F2C-FCBF69250F08}"/>
              </a:ext>
            </a:extLst>
          </p:cNvPr>
          <p:cNvSpPr>
            <a:spLocks noGrp="1"/>
          </p:cNvSpPr>
          <p:nvPr>
            <p:ph type="title"/>
          </p:nvPr>
        </p:nvSpPr>
        <p:spPr/>
        <p:txBody>
          <a:bodyPr/>
          <a:lstStyle/>
          <a:p>
            <a:r>
              <a:rPr lang="en-US" dirty="0"/>
              <a:t>Partnerships</a:t>
            </a:r>
          </a:p>
        </p:txBody>
      </p:sp>
      <p:sp>
        <p:nvSpPr>
          <p:cNvPr id="4" name="Slide Number Placeholder 3">
            <a:extLst>
              <a:ext uri="{FF2B5EF4-FFF2-40B4-BE49-F238E27FC236}">
                <a16:creationId xmlns:a16="http://schemas.microsoft.com/office/drawing/2014/main" id="{153882E5-BCE9-DED2-7AA1-5EE7C220C90F}"/>
              </a:ext>
            </a:extLst>
          </p:cNvPr>
          <p:cNvSpPr>
            <a:spLocks noGrp="1"/>
          </p:cNvSpPr>
          <p:nvPr>
            <p:ph type="sldNum" sz="quarter" idx="12"/>
          </p:nvPr>
        </p:nvSpPr>
        <p:spPr/>
        <p:txBody>
          <a:bodyPr/>
          <a:lstStyle/>
          <a:p>
            <a:fld id="{C7F5C3B8-40BC-455A-BE9A-A2740983B655}" type="slidenum">
              <a:rPr lang="en-US" smtClean="0"/>
              <a:pPr/>
              <a:t>3</a:t>
            </a:fld>
            <a:endParaRPr lang="en-US" dirty="0"/>
          </a:p>
        </p:txBody>
      </p:sp>
      <p:sp>
        <p:nvSpPr>
          <p:cNvPr id="5" name="Content Placeholder 4">
            <a:extLst>
              <a:ext uri="{FF2B5EF4-FFF2-40B4-BE49-F238E27FC236}">
                <a16:creationId xmlns:a16="http://schemas.microsoft.com/office/drawing/2014/main" id="{2B8CB352-AB65-803A-5F74-FC193E7D2965}"/>
              </a:ext>
            </a:extLst>
          </p:cNvPr>
          <p:cNvSpPr>
            <a:spLocks noGrp="1"/>
          </p:cNvSpPr>
          <p:nvPr>
            <p:ph idx="1"/>
          </p:nvPr>
        </p:nvSpPr>
        <p:spPr>
          <a:xfrm>
            <a:off x="866774" y="1996020"/>
            <a:ext cx="10083433" cy="2169825"/>
          </a:xfrm>
        </p:spPr>
        <p:txBody>
          <a:bodyPr/>
          <a:lstStyle/>
          <a:p>
            <a:r>
              <a:rPr lang="en-US" sz="2400" b="1" dirty="0">
                <a:latin typeface="Calibri" panose="020F0502020204030204" pitchFamily="34" charset="0"/>
                <a:cs typeface="Calibri" panose="020F0502020204030204" pitchFamily="34" charset="0"/>
              </a:rPr>
              <a:t>Historically last several years giving around $100,000.00 a year.</a:t>
            </a:r>
          </a:p>
          <a:p>
            <a:r>
              <a:rPr lang="en-US" sz="2400" b="1" dirty="0">
                <a:latin typeface="Calibri" panose="020F0502020204030204" pitchFamily="34" charset="0"/>
                <a:cs typeface="Calibri" panose="020F0502020204030204" pitchFamily="34" charset="0"/>
              </a:rPr>
              <a:t>In 2023 with our new SCTP partnership with ACUI, we will see that bumped up to a little over $160,000.00.</a:t>
            </a:r>
          </a:p>
          <a:p>
            <a:r>
              <a:rPr lang="en-US" sz="2400" b="1" dirty="0">
                <a:latin typeface="Calibri" panose="020F0502020204030204" pitchFamily="34" charset="0"/>
                <a:cs typeface="Calibri" panose="020F0502020204030204" pitchFamily="34" charset="0"/>
              </a:rPr>
              <a:t>We also plan on that going up each year after.</a:t>
            </a:r>
          </a:p>
          <a:p>
            <a:pPr marL="0" indent="0">
              <a:buNone/>
            </a:pPr>
            <a:endParaRPr lang="en-US" b="1" dirty="0">
              <a:latin typeface="Calibri" panose="020F0502020204030204" pitchFamily="34" charset="0"/>
              <a:cs typeface="Calibri" panose="020F0502020204030204" pitchFamily="34" charset="0"/>
            </a:endParaRPr>
          </a:p>
        </p:txBody>
      </p:sp>
      <p:pic>
        <p:nvPicPr>
          <p:cNvPr id="1026" name="Picture 2">
            <a:extLst>
              <a:ext uri="{FF2B5EF4-FFF2-40B4-BE49-F238E27FC236}">
                <a16:creationId xmlns:a16="http://schemas.microsoft.com/office/drawing/2014/main" id="{F4248FB5-BF2B-38E5-1428-1F6FE2D554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8767" y="3821726"/>
            <a:ext cx="5705475" cy="2581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7497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93C3F-5EE4-65A8-EAE2-9FE3CD42C43F}"/>
              </a:ext>
            </a:extLst>
          </p:cNvPr>
          <p:cNvSpPr>
            <a:spLocks noGrp="1"/>
          </p:cNvSpPr>
          <p:nvPr>
            <p:ph type="title"/>
          </p:nvPr>
        </p:nvSpPr>
        <p:spPr/>
        <p:txBody>
          <a:bodyPr/>
          <a:lstStyle/>
          <a:p>
            <a:r>
              <a:rPr lang="en-US" dirty="0"/>
              <a:t>International 2022</a:t>
            </a:r>
          </a:p>
        </p:txBody>
      </p:sp>
      <p:sp>
        <p:nvSpPr>
          <p:cNvPr id="4" name="Slide Number Placeholder 3">
            <a:extLst>
              <a:ext uri="{FF2B5EF4-FFF2-40B4-BE49-F238E27FC236}">
                <a16:creationId xmlns:a16="http://schemas.microsoft.com/office/drawing/2014/main" id="{98728537-ED4B-3AE9-5EB0-AD1C3A6CDA08}"/>
              </a:ext>
            </a:extLst>
          </p:cNvPr>
          <p:cNvSpPr>
            <a:spLocks noGrp="1"/>
          </p:cNvSpPr>
          <p:nvPr>
            <p:ph type="sldNum" sz="quarter" idx="12"/>
          </p:nvPr>
        </p:nvSpPr>
        <p:spPr/>
        <p:txBody>
          <a:bodyPr/>
          <a:lstStyle/>
          <a:p>
            <a:fld id="{C7F5C3B8-40BC-455A-BE9A-A2740983B655}" type="slidenum">
              <a:rPr lang="en-US" smtClean="0"/>
              <a:pPr/>
              <a:t>4</a:t>
            </a:fld>
            <a:endParaRPr lang="en-US" dirty="0"/>
          </a:p>
        </p:txBody>
      </p:sp>
      <p:pic>
        <p:nvPicPr>
          <p:cNvPr id="8" name="Content Placeholder 7">
            <a:extLst>
              <a:ext uri="{FF2B5EF4-FFF2-40B4-BE49-F238E27FC236}">
                <a16:creationId xmlns:a16="http://schemas.microsoft.com/office/drawing/2014/main" id="{383F52D6-8B62-5CDD-A5BC-172B1519E5F7}"/>
              </a:ext>
            </a:extLst>
          </p:cNvPr>
          <p:cNvPicPr>
            <a:picLocks noGrp="1" noChangeAspect="1"/>
          </p:cNvPicPr>
          <p:nvPr>
            <p:ph idx="1"/>
          </p:nvPr>
        </p:nvPicPr>
        <p:blipFill>
          <a:blip r:embed="rId2"/>
          <a:stretch>
            <a:fillRect/>
          </a:stretch>
        </p:blipFill>
        <p:spPr>
          <a:xfrm>
            <a:off x="1660245" y="1413153"/>
            <a:ext cx="9747691" cy="4768572"/>
          </a:xfrm>
        </p:spPr>
      </p:pic>
    </p:spTree>
    <p:extLst>
      <p:ext uri="{BB962C8B-B14F-4D97-AF65-F5344CB8AC3E}">
        <p14:creationId xmlns:p14="http://schemas.microsoft.com/office/powerpoint/2010/main" val="3056809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533F7-D98C-1D75-3B58-7AAA7624BCA2}"/>
              </a:ext>
            </a:extLst>
          </p:cNvPr>
          <p:cNvSpPr>
            <a:spLocks noGrp="1"/>
          </p:cNvSpPr>
          <p:nvPr>
            <p:ph type="title"/>
          </p:nvPr>
        </p:nvSpPr>
        <p:spPr/>
        <p:txBody>
          <a:bodyPr/>
          <a:lstStyle/>
          <a:p>
            <a:endParaRPr lang="en-US"/>
          </a:p>
        </p:txBody>
      </p:sp>
      <p:pic>
        <p:nvPicPr>
          <p:cNvPr id="7" name="Content Placeholder 6">
            <a:extLst>
              <a:ext uri="{FF2B5EF4-FFF2-40B4-BE49-F238E27FC236}">
                <a16:creationId xmlns:a16="http://schemas.microsoft.com/office/drawing/2014/main" id="{B59CD087-B272-AE8D-AF6A-E038B148CA3C}"/>
              </a:ext>
            </a:extLst>
          </p:cNvPr>
          <p:cNvPicPr>
            <a:picLocks noGrp="1" noChangeAspect="1"/>
          </p:cNvPicPr>
          <p:nvPr>
            <p:ph idx="1"/>
          </p:nvPr>
        </p:nvPicPr>
        <p:blipFill>
          <a:blip r:embed="rId2"/>
          <a:stretch>
            <a:fillRect/>
          </a:stretch>
        </p:blipFill>
        <p:spPr>
          <a:xfrm>
            <a:off x="1680057" y="1453513"/>
            <a:ext cx="9330582" cy="1880254"/>
          </a:xfrm>
        </p:spPr>
      </p:pic>
      <p:sp>
        <p:nvSpPr>
          <p:cNvPr id="4" name="Slide Number Placeholder 3">
            <a:extLst>
              <a:ext uri="{FF2B5EF4-FFF2-40B4-BE49-F238E27FC236}">
                <a16:creationId xmlns:a16="http://schemas.microsoft.com/office/drawing/2014/main" id="{FF35EBD0-FAB9-F916-213B-CB176176A1C8}"/>
              </a:ext>
            </a:extLst>
          </p:cNvPr>
          <p:cNvSpPr>
            <a:spLocks noGrp="1"/>
          </p:cNvSpPr>
          <p:nvPr>
            <p:ph type="sldNum" sz="quarter" idx="12"/>
          </p:nvPr>
        </p:nvSpPr>
        <p:spPr/>
        <p:txBody>
          <a:bodyPr/>
          <a:lstStyle/>
          <a:p>
            <a:fld id="{C7F5C3B8-40BC-455A-BE9A-A2740983B655}" type="slidenum">
              <a:rPr lang="en-US" smtClean="0"/>
              <a:pPr/>
              <a:t>5</a:t>
            </a:fld>
            <a:endParaRPr lang="en-US" dirty="0"/>
          </a:p>
        </p:txBody>
      </p:sp>
      <p:pic>
        <p:nvPicPr>
          <p:cNvPr id="5" name="AC17B8C3-1A42-455B-8FAB-BD295467060D">
            <a:extLst>
              <a:ext uri="{FF2B5EF4-FFF2-40B4-BE49-F238E27FC236}">
                <a16:creationId xmlns:a16="http://schemas.microsoft.com/office/drawing/2014/main" id="{3031C740-25F2-1AB2-82D2-D8135D0270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97" y="3246522"/>
            <a:ext cx="4041510" cy="3031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5002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FCC1F-01C4-9A8F-F25F-7A27E8BBBF8C}"/>
              </a:ext>
            </a:extLst>
          </p:cNvPr>
          <p:cNvSpPr>
            <a:spLocks noGrp="1"/>
          </p:cNvSpPr>
          <p:nvPr>
            <p:ph type="title"/>
          </p:nvPr>
        </p:nvSpPr>
        <p:spPr/>
        <p:txBody>
          <a:bodyPr/>
          <a:lstStyle/>
          <a:p>
            <a:r>
              <a:rPr lang="en-US" dirty="0"/>
              <a:t>Don’t bet against Larry with a revolver</a:t>
            </a:r>
          </a:p>
        </p:txBody>
      </p:sp>
      <p:sp>
        <p:nvSpPr>
          <p:cNvPr id="4" name="Slide Number Placeholder 3">
            <a:extLst>
              <a:ext uri="{FF2B5EF4-FFF2-40B4-BE49-F238E27FC236}">
                <a16:creationId xmlns:a16="http://schemas.microsoft.com/office/drawing/2014/main" id="{5D389511-15B9-83B5-3E66-FF54430997E0}"/>
              </a:ext>
            </a:extLst>
          </p:cNvPr>
          <p:cNvSpPr>
            <a:spLocks noGrp="1"/>
          </p:cNvSpPr>
          <p:nvPr>
            <p:ph type="sldNum" sz="quarter" idx="12"/>
          </p:nvPr>
        </p:nvSpPr>
        <p:spPr/>
        <p:txBody>
          <a:bodyPr/>
          <a:lstStyle/>
          <a:p>
            <a:fld id="{C7F5C3B8-40BC-455A-BE9A-A2740983B655}" type="slidenum">
              <a:rPr lang="en-US" smtClean="0"/>
              <a:pPr/>
              <a:t>6</a:t>
            </a:fld>
            <a:endParaRPr lang="en-US" dirty="0"/>
          </a:p>
        </p:txBody>
      </p:sp>
      <p:pic>
        <p:nvPicPr>
          <p:cNvPr id="8" name="Picture 7">
            <a:extLst>
              <a:ext uri="{FF2B5EF4-FFF2-40B4-BE49-F238E27FC236}">
                <a16:creationId xmlns:a16="http://schemas.microsoft.com/office/drawing/2014/main" id="{054A7769-05CF-C86D-07A3-BAAA754EA52F}"/>
              </a:ext>
            </a:extLst>
          </p:cNvPr>
          <p:cNvPicPr>
            <a:picLocks noChangeAspect="1"/>
          </p:cNvPicPr>
          <p:nvPr/>
        </p:nvPicPr>
        <p:blipFill rotWithShape="1">
          <a:blip r:embed="rId2"/>
          <a:srcRect l="11626" r="17108"/>
          <a:stretch/>
        </p:blipFill>
        <p:spPr>
          <a:xfrm>
            <a:off x="2378697" y="1578760"/>
            <a:ext cx="3079423" cy="4131996"/>
          </a:xfrm>
          <a:prstGeom prst="rect">
            <a:avLst/>
          </a:prstGeom>
        </p:spPr>
      </p:pic>
      <p:pic>
        <p:nvPicPr>
          <p:cNvPr id="10" name="Picture 9">
            <a:extLst>
              <a:ext uri="{FF2B5EF4-FFF2-40B4-BE49-F238E27FC236}">
                <a16:creationId xmlns:a16="http://schemas.microsoft.com/office/drawing/2014/main" id="{5DA17632-4E0F-975C-3F16-8225C2F212FD}"/>
              </a:ext>
            </a:extLst>
          </p:cNvPr>
          <p:cNvPicPr>
            <a:picLocks noChangeAspect="1"/>
          </p:cNvPicPr>
          <p:nvPr/>
        </p:nvPicPr>
        <p:blipFill>
          <a:blip r:embed="rId3"/>
          <a:stretch>
            <a:fillRect/>
          </a:stretch>
        </p:blipFill>
        <p:spPr>
          <a:xfrm>
            <a:off x="6512235" y="1612619"/>
            <a:ext cx="3301068" cy="4098136"/>
          </a:xfrm>
          <a:prstGeom prst="rect">
            <a:avLst/>
          </a:prstGeom>
        </p:spPr>
      </p:pic>
    </p:spTree>
    <p:extLst>
      <p:ext uri="{BB962C8B-B14F-4D97-AF65-F5344CB8AC3E}">
        <p14:creationId xmlns:p14="http://schemas.microsoft.com/office/powerpoint/2010/main" val="2852080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C88AEF-A6A5-41D2-BCE1-19BD90F4AB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4EC88AEF-A6A5-41D2-BCE1-19BD90F4AB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7D9DDE-A2DF-4ACB-A000-3918EE7C0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360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E1BD7C72-E815-4D57-932E-9B9A39F85683}"/>
              </a:ext>
            </a:extLst>
          </p:cNvPr>
          <p:cNvSpPr>
            <a:spLocks noGrp="1"/>
          </p:cNvSpPr>
          <p:nvPr>
            <p:ph type="title"/>
          </p:nvPr>
        </p:nvSpPr>
        <p:spPr/>
        <p:txBody>
          <a:bodyPr/>
          <a:lstStyle/>
          <a:p>
            <a:r>
              <a:rPr lang="en-IN" dirty="0"/>
              <a:t>QUESTIONS</a:t>
            </a:r>
            <a:endParaRPr lang="en-US" dirty="0"/>
          </a:p>
        </p:txBody>
      </p:sp>
      <p:pic>
        <p:nvPicPr>
          <p:cNvPr id="7" name="Content Placeholder 6">
            <a:extLst>
              <a:ext uri="{FF2B5EF4-FFF2-40B4-BE49-F238E27FC236}">
                <a16:creationId xmlns:a16="http://schemas.microsoft.com/office/drawing/2014/main" id="{9601C08A-F12B-401E-A1A4-BDB2597A2B1C}"/>
              </a:ext>
            </a:extLst>
          </p:cNvPr>
          <p:cNvPicPr>
            <a:picLocks noGrp="1" noChangeAspect="1"/>
          </p:cNvPicPr>
          <p:nvPr>
            <p:ph idx="1"/>
          </p:nvPr>
        </p:nvPicPr>
        <p:blipFill>
          <a:blip r:embed="rId6"/>
          <a:stretch>
            <a:fillRect/>
          </a:stretch>
        </p:blipFill>
        <p:spPr>
          <a:xfrm>
            <a:off x="3663883" y="1477032"/>
            <a:ext cx="4864233" cy="4864233"/>
          </a:xfrm>
          <a:prstGeom prst="rect">
            <a:avLst/>
          </a:prstGeom>
        </p:spPr>
      </p:pic>
      <p:sp>
        <p:nvSpPr>
          <p:cNvPr id="4" name="Slide Number Placeholder 3">
            <a:extLst>
              <a:ext uri="{FF2B5EF4-FFF2-40B4-BE49-F238E27FC236}">
                <a16:creationId xmlns:a16="http://schemas.microsoft.com/office/drawing/2014/main" id="{1BF2203A-CF29-4942-98AE-6FA5CC9DF383}"/>
              </a:ext>
            </a:extLst>
          </p:cNvPr>
          <p:cNvSpPr>
            <a:spLocks noGrp="1"/>
          </p:cNvSpPr>
          <p:nvPr>
            <p:ph type="sldNum" sz="quarter" idx="12"/>
          </p:nvPr>
        </p:nvSpPr>
        <p:spPr>
          <a:xfrm flipH="1">
            <a:off x="5846652" y="6539562"/>
            <a:ext cx="498696" cy="184666"/>
          </a:xfrm>
        </p:spPr>
        <p:txBody>
          <a:bodyPr/>
          <a:lstStyle/>
          <a:p>
            <a:fld id="{C7F5C3B8-40BC-455A-BE9A-A2740983B655}" type="slidenum">
              <a:rPr lang="en-US" smtClean="0"/>
              <a:pPr/>
              <a:t>7</a:t>
            </a:fld>
            <a:endParaRPr lang="en-US"/>
          </a:p>
        </p:txBody>
      </p:sp>
    </p:spTree>
    <p:extLst>
      <p:ext uri="{BB962C8B-B14F-4D97-AF65-F5344CB8AC3E}">
        <p14:creationId xmlns:p14="http://schemas.microsoft.com/office/powerpoint/2010/main" val="40555366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C88AEF-A6A5-41D2-BCE1-19BD90F4AB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4EC88AEF-A6A5-41D2-BCE1-19BD90F4AB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7D9DDE-A2DF-4ACB-A000-3918EE7C0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360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E1BD7C72-E815-4D57-932E-9B9A39F85683}"/>
              </a:ext>
            </a:extLst>
          </p:cNvPr>
          <p:cNvSpPr>
            <a:spLocks noGrp="1"/>
          </p:cNvSpPr>
          <p:nvPr>
            <p:ph type="title"/>
          </p:nvPr>
        </p:nvSpPr>
        <p:spPr/>
        <p:txBody>
          <a:bodyPr/>
          <a:lstStyle/>
          <a:p>
            <a:r>
              <a:rPr lang="en-IN" dirty="0"/>
              <a:t>THANK YOU!</a:t>
            </a:r>
            <a:endParaRPr lang="en-US" dirty="0"/>
          </a:p>
        </p:txBody>
      </p:sp>
      <p:pic>
        <p:nvPicPr>
          <p:cNvPr id="7" name="Content Placeholder 6">
            <a:extLst>
              <a:ext uri="{FF2B5EF4-FFF2-40B4-BE49-F238E27FC236}">
                <a16:creationId xmlns:a16="http://schemas.microsoft.com/office/drawing/2014/main" id="{11D81B6D-A413-4786-B61C-1354AA0BCF1E}"/>
              </a:ext>
            </a:extLst>
          </p:cNvPr>
          <p:cNvPicPr>
            <a:picLocks noGrp="1" noChangeAspect="1"/>
          </p:cNvPicPr>
          <p:nvPr>
            <p:ph idx="1"/>
          </p:nvPr>
        </p:nvPicPr>
        <p:blipFill>
          <a:blip r:embed="rId6"/>
          <a:stretch>
            <a:fillRect/>
          </a:stretch>
        </p:blipFill>
        <p:spPr>
          <a:xfrm>
            <a:off x="3025208" y="1504953"/>
            <a:ext cx="6640280" cy="4772702"/>
          </a:xfrm>
          <a:prstGeom prst="rect">
            <a:avLst/>
          </a:prstGeom>
        </p:spPr>
      </p:pic>
      <p:sp>
        <p:nvSpPr>
          <p:cNvPr id="4" name="Slide Number Placeholder 3">
            <a:extLst>
              <a:ext uri="{FF2B5EF4-FFF2-40B4-BE49-F238E27FC236}">
                <a16:creationId xmlns:a16="http://schemas.microsoft.com/office/drawing/2014/main" id="{1BF2203A-CF29-4942-98AE-6FA5CC9DF383}"/>
              </a:ext>
            </a:extLst>
          </p:cNvPr>
          <p:cNvSpPr>
            <a:spLocks noGrp="1"/>
          </p:cNvSpPr>
          <p:nvPr>
            <p:ph type="sldNum" sz="quarter" idx="12"/>
          </p:nvPr>
        </p:nvSpPr>
        <p:spPr>
          <a:xfrm flipH="1">
            <a:off x="5846652" y="6539562"/>
            <a:ext cx="498696" cy="184666"/>
          </a:xfrm>
        </p:spPr>
        <p:txBody>
          <a:bodyPr/>
          <a:lstStyle/>
          <a:p>
            <a:fld id="{C7F5C3B8-40BC-455A-BE9A-A2740983B655}" type="slidenum">
              <a:rPr lang="en-US" smtClean="0"/>
              <a:pPr/>
              <a:t>8</a:t>
            </a:fld>
            <a:endParaRPr lang="en-US"/>
          </a:p>
        </p:txBody>
      </p:sp>
      <p:sp>
        <p:nvSpPr>
          <p:cNvPr id="8" name="Rectangle 7">
            <a:extLst>
              <a:ext uri="{FF2B5EF4-FFF2-40B4-BE49-F238E27FC236}">
                <a16:creationId xmlns:a16="http://schemas.microsoft.com/office/drawing/2014/main" id="{6C493FD6-88D3-4D6A-84A4-272B8D8DDEF3}"/>
              </a:ext>
            </a:extLst>
          </p:cNvPr>
          <p:cNvSpPr/>
          <p:nvPr/>
        </p:nvSpPr>
        <p:spPr>
          <a:xfrm>
            <a:off x="-4049485" y="1173517"/>
            <a:ext cx="2960914" cy="3693319"/>
          </a:xfrm>
          <a:prstGeom prst="rect">
            <a:avLst/>
          </a:prstGeom>
          <a:solidFill>
            <a:srgbClr val="FFFF00"/>
          </a:solidFill>
        </p:spPr>
        <p:txBody>
          <a:bodyPr wrap="square">
            <a:spAutoFit/>
          </a:bodyPr>
          <a:lstStyle/>
          <a:p>
            <a:r>
              <a:rPr lang="en-IN" dirty="0"/>
              <a:t> Lastly, could we replace the pistol with a Glock (a pistol manufacturer).  I'm attaching a picture (glock.jpg)  I think if you just flip the image it should be fine.  Glock is a founding partner of the Scholastic Action Shooting Program so we'd like to highlight their gun, plus we have the right to use their logo and gun images so we have no issues with copyright.</a:t>
            </a:r>
            <a:endParaRPr lang="en-US" dirty="0"/>
          </a:p>
        </p:txBody>
      </p:sp>
    </p:spTree>
    <p:extLst>
      <p:ext uri="{BB962C8B-B14F-4D97-AF65-F5344CB8AC3E}">
        <p14:creationId xmlns:p14="http://schemas.microsoft.com/office/powerpoint/2010/main" val="42792934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3yRmuFpRumtnvpY4tA3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3yRmuFpRumtnvpY4tA3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3yRmuFpRumtnvpY4tA3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NE1lTShSXmfHxWk5tGV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t6Ud_uDRHeTw866eVaL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VppWz2fTfKXpL7dpwLo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35">
      <a:dk1>
        <a:sysClr val="windowText" lastClr="000000"/>
      </a:dk1>
      <a:lt1>
        <a:sysClr val="window" lastClr="FFFFFF"/>
      </a:lt1>
      <a:dk2>
        <a:srgbClr val="44546A"/>
      </a:dk2>
      <a:lt2>
        <a:srgbClr val="E7E6E6"/>
      </a:lt2>
      <a:accent1>
        <a:srgbClr val="0069AA"/>
      </a:accent1>
      <a:accent2>
        <a:srgbClr val="C12E1E"/>
      </a:accent2>
      <a:accent3>
        <a:srgbClr val="F4901E"/>
      </a:accent3>
      <a:accent4>
        <a:srgbClr val="000000"/>
      </a:accent4>
      <a:accent5>
        <a:srgbClr val="4D4D4D"/>
      </a:accent5>
      <a:accent6>
        <a:srgbClr val="70AD47"/>
      </a:accent6>
      <a:hlink>
        <a:srgbClr val="0563C1"/>
      </a:hlink>
      <a:folHlink>
        <a:srgbClr val="954F72"/>
      </a:folHlink>
    </a:clrScheme>
    <a:fontScheme name="Custom 92">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8D98AF74FE0B4A89508E66A217D6D2" ma:contentTypeVersion="13" ma:contentTypeDescription="Create a new document." ma:contentTypeScope="" ma:versionID="b56fb1f5fee96be731875829c5d30093">
  <xsd:schema xmlns:xsd="http://www.w3.org/2001/XMLSchema" xmlns:xs="http://www.w3.org/2001/XMLSchema" xmlns:p="http://schemas.microsoft.com/office/2006/metadata/properties" xmlns:ns2="650b242b-e381-4b77-886e-543c4678da09" xmlns:ns3="2d3be834-5d4c-4e43-a35f-e0a90fe03baf" targetNamespace="http://schemas.microsoft.com/office/2006/metadata/properties" ma:root="true" ma:fieldsID="221a811117b3d3724b8d9b41a5315ee7" ns2:_="" ns3:_="">
    <xsd:import namespace="650b242b-e381-4b77-886e-543c4678da09"/>
    <xsd:import namespace="2d3be834-5d4c-4e43-a35f-e0a90fe03baf"/>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2:SharedWithUsers" minOccurs="0"/>
                <xsd:element ref="ns2:SharedWithDetail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0b242b-e381-4b77-886e-543c4678da0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7" nillable="true" ma:displayName="Taxonomy Catch All Column" ma:hidden="true" ma:list="{91d6445e-2d5b-45ac-a532-1034da9774a8}" ma:internalName="TaxCatchAll" ma:showField="CatchAllData" ma:web="650b242b-e381-4b77-886e-543c4678da09">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3be834-5d4c-4e43-a35f-e0a90fe03ba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e546cdec-35b0-46fd-99b1-b7ad91dc8b67"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3" nillable="true" ma:displayName="Location" ma:descrip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A51E77-1FC1-4B44-9541-CC6C052A09E5}"/>
</file>

<file path=customXml/itemProps2.xml><?xml version="1.0" encoding="utf-8"?>
<ds:datastoreItem xmlns:ds="http://schemas.openxmlformats.org/officeDocument/2006/customXml" ds:itemID="{687FC485-81C5-48B4-9E57-CD38A43EDF27}"/>
</file>

<file path=customXml/itemProps3.xml><?xml version="1.0" encoding="utf-8"?>
<ds:datastoreItem xmlns:ds="http://schemas.openxmlformats.org/officeDocument/2006/customXml" ds:itemID="{E41CC065-8493-4AEC-B5C7-65D420561DC3}"/>
</file>

<file path=docProps/app.xml><?xml version="1.0" encoding="utf-8"?>
<Properties xmlns="http://schemas.openxmlformats.org/officeDocument/2006/extended-properties" xmlns:vt="http://schemas.openxmlformats.org/officeDocument/2006/docPropsVTypes">
  <TotalTime>6609</TotalTime>
  <Words>326</Words>
  <Application>Microsoft Office PowerPoint</Application>
  <PresentationFormat>Widescreen</PresentationFormat>
  <Paragraphs>24</Paragraphs>
  <Slides>8</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Calibri Light</vt:lpstr>
      <vt:lpstr>Montserrat</vt:lpstr>
      <vt:lpstr>Office Theme</vt:lpstr>
      <vt:lpstr>think-cell Slide</vt:lpstr>
      <vt:lpstr>SSSF SCHOLARSHIPS</vt:lpstr>
      <vt:lpstr>Scholarships</vt:lpstr>
      <vt:lpstr>Partnerships</vt:lpstr>
      <vt:lpstr>International 2022</vt:lpstr>
      <vt:lpstr>PowerPoint Presentation</vt:lpstr>
      <vt:lpstr>Don’t bet against Larry with a revolver</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idhar</dc:creator>
  <cp:lastModifiedBy>Rick Leach</cp:lastModifiedBy>
  <cp:revision>42</cp:revision>
  <dcterms:created xsi:type="dcterms:W3CDTF">2018-09-07T12:08:52Z</dcterms:created>
  <dcterms:modified xsi:type="dcterms:W3CDTF">2022-10-08T03:47:42Z</dcterms:modified>
</cp:coreProperties>
</file>